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sldIdLst>
    <p:sldId id="256" r:id="rId2"/>
  </p:sldIdLst>
  <p:sldSz cx="6804025" cy="9072563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028"/>
    <p:restoredTop sz="94762"/>
  </p:normalViewPr>
  <p:slideViewPr>
    <p:cSldViewPr snapToGrid="0" snapToObjects="1">
      <p:cViewPr varScale="1">
        <p:scale>
          <a:sx n="91" d="100"/>
          <a:sy n="91" d="100"/>
        </p:scale>
        <p:origin x="1704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0302" y="1484793"/>
            <a:ext cx="5783421" cy="3158596"/>
          </a:xfrm>
        </p:spPr>
        <p:txBody>
          <a:bodyPr anchor="b"/>
          <a:lstStyle>
            <a:lvl1pPr algn="ctr">
              <a:defRPr sz="4465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0503" y="4765197"/>
            <a:ext cx="5103019" cy="2190435"/>
          </a:xfrm>
        </p:spPr>
        <p:txBody>
          <a:bodyPr/>
          <a:lstStyle>
            <a:lvl1pPr marL="0" indent="0" algn="ctr">
              <a:buNone/>
              <a:defRPr sz="1786"/>
            </a:lvl1pPr>
            <a:lvl2pPr marL="340203" indent="0" algn="ctr">
              <a:buNone/>
              <a:defRPr sz="1488"/>
            </a:lvl2pPr>
            <a:lvl3pPr marL="680405" indent="0" algn="ctr">
              <a:buNone/>
              <a:defRPr sz="1339"/>
            </a:lvl3pPr>
            <a:lvl4pPr marL="1020608" indent="0" algn="ctr">
              <a:buNone/>
              <a:defRPr sz="1191"/>
            </a:lvl4pPr>
            <a:lvl5pPr marL="1360810" indent="0" algn="ctr">
              <a:buNone/>
              <a:defRPr sz="1191"/>
            </a:lvl5pPr>
            <a:lvl6pPr marL="1701013" indent="0" algn="ctr">
              <a:buNone/>
              <a:defRPr sz="1191"/>
            </a:lvl6pPr>
            <a:lvl7pPr marL="2041215" indent="0" algn="ctr">
              <a:buNone/>
              <a:defRPr sz="1191"/>
            </a:lvl7pPr>
            <a:lvl8pPr marL="2381418" indent="0" algn="ctr">
              <a:buNone/>
              <a:defRPr sz="1191"/>
            </a:lvl8pPr>
            <a:lvl9pPr marL="2721620" indent="0" algn="ctr">
              <a:buNone/>
              <a:defRPr sz="1191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CCD3D-5671-0C44-A064-1D2D37A27C93}" type="datetimeFigureOut">
              <a:rPr lang="es-DO" smtClean="0"/>
              <a:t>25/3/24</a:t>
            </a:fld>
            <a:endParaRPr lang="es-D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D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EE9B2E-96D4-7644-A6FC-AE6A8C7D43B2}" type="slidenum">
              <a:rPr lang="es-DO" smtClean="0"/>
              <a:t>‹Nº›</a:t>
            </a:fld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5353309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CCD3D-5671-0C44-A064-1D2D37A27C93}" type="datetimeFigureOut">
              <a:rPr lang="es-DO" smtClean="0"/>
              <a:t>25/3/24</a:t>
            </a:fld>
            <a:endParaRPr lang="es-D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D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EE9B2E-96D4-7644-A6FC-AE6A8C7D43B2}" type="slidenum">
              <a:rPr lang="es-DO" smtClean="0"/>
              <a:t>‹Nº›</a:t>
            </a:fld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5874403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869131" y="483030"/>
            <a:ext cx="1467118" cy="768857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7777" y="483030"/>
            <a:ext cx="4316303" cy="768857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CCD3D-5671-0C44-A064-1D2D37A27C93}" type="datetimeFigureOut">
              <a:rPr lang="es-DO" smtClean="0"/>
              <a:t>25/3/24</a:t>
            </a:fld>
            <a:endParaRPr lang="es-D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D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EE9B2E-96D4-7644-A6FC-AE6A8C7D43B2}" type="slidenum">
              <a:rPr lang="es-DO" smtClean="0"/>
              <a:t>‹Nº›</a:t>
            </a:fld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31075158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CCD3D-5671-0C44-A064-1D2D37A27C93}" type="datetimeFigureOut">
              <a:rPr lang="es-DO" smtClean="0"/>
              <a:t>25/3/24</a:t>
            </a:fld>
            <a:endParaRPr lang="es-D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D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EE9B2E-96D4-7644-A6FC-AE6A8C7D43B2}" type="slidenum">
              <a:rPr lang="es-DO" smtClean="0"/>
              <a:t>‹Nº›</a:t>
            </a:fld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2585977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233" y="2261843"/>
            <a:ext cx="5868472" cy="3773934"/>
          </a:xfrm>
        </p:spPr>
        <p:txBody>
          <a:bodyPr anchor="b"/>
          <a:lstStyle>
            <a:lvl1pPr>
              <a:defRPr sz="4465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4233" y="6071480"/>
            <a:ext cx="5868472" cy="1984622"/>
          </a:xfrm>
        </p:spPr>
        <p:txBody>
          <a:bodyPr/>
          <a:lstStyle>
            <a:lvl1pPr marL="0" indent="0">
              <a:buNone/>
              <a:defRPr sz="1786">
                <a:solidFill>
                  <a:schemeClr val="tx1"/>
                </a:solidFill>
              </a:defRPr>
            </a:lvl1pPr>
            <a:lvl2pPr marL="340203" indent="0">
              <a:buNone/>
              <a:defRPr sz="1488">
                <a:solidFill>
                  <a:schemeClr val="tx1">
                    <a:tint val="75000"/>
                  </a:schemeClr>
                </a:solidFill>
              </a:defRPr>
            </a:lvl2pPr>
            <a:lvl3pPr marL="680405" indent="0">
              <a:buNone/>
              <a:defRPr sz="1339">
                <a:solidFill>
                  <a:schemeClr val="tx1">
                    <a:tint val="75000"/>
                  </a:schemeClr>
                </a:solidFill>
              </a:defRPr>
            </a:lvl3pPr>
            <a:lvl4pPr marL="1020608" indent="0">
              <a:buNone/>
              <a:defRPr sz="1191">
                <a:solidFill>
                  <a:schemeClr val="tx1">
                    <a:tint val="75000"/>
                  </a:schemeClr>
                </a:solidFill>
              </a:defRPr>
            </a:lvl4pPr>
            <a:lvl5pPr marL="1360810" indent="0">
              <a:buNone/>
              <a:defRPr sz="1191">
                <a:solidFill>
                  <a:schemeClr val="tx1">
                    <a:tint val="75000"/>
                  </a:schemeClr>
                </a:solidFill>
              </a:defRPr>
            </a:lvl5pPr>
            <a:lvl6pPr marL="1701013" indent="0">
              <a:buNone/>
              <a:defRPr sz="1191">
                <a:solidFill>
                  <a:schemeClr val="tx1">
                    <a:tint val="75000"/>
                  </a:schemeClr>
                </a:solidFill>
              </a:defRPr>
            </a:lvl6pPr>
            <a:lvl7pPr marL="2041215" indent="0">
              <a:buNone/>
              <a:defRPr sz="1191">
                <a:solidFill>
                  <a:schemeClr val="tx1">
                    <a:tint val="75000"/>
                  </a:schemeClr>
                </a:solidFill>
              </a:defRPr>
            </a:lvl7pPr>
            <a:lvl8pPr marL="2381418" indent="0">
              <a:buNone/>
              <a:defRPr sz="1191">
                <a:solidFill>
                  <a:schemeClr val="tx1">
                    <a:tint val="75000"/>
                  </a:schemeClr>
                </a:solidFill>
              </a:defRPr>
            </a:lvl8pPr>
            <a:lvl9pPr marL="2721620" indent="0">
              <a:buNone/>
              <a:defRPr sz="119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CCD3D-5671-0C44-A064-1D2D37A27C93}" type="datetimeFigureOut">
              <a:rPr lang="es-DO" smtClean="0"/>
              <a:t>25/3/24</a:t>
            </a:fld>
            <a:endParaRPr lang="es-D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D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EE9B2E-96D4-7644-A6FC-AE6A8C7D43B2}" type="slidenum">
              <a:rPr lang="es-DO" smtClean="0"/>
              <a:t>‹Nº›</a:t>
            </a:fld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4971222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7777" y="2415150"/>
            <a:ext cx="2891711" cy="575645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44537" y="2415150"/>
            <a:ext cx="2891711" cy="575645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CCD3D-5671-0C44-A064-1D2D37A27C93}" type="datetimeFigureOut">
              <a:rPr lang="es-DO" smtClean="0"/>
              <a:t>25/3/24</a:t>
            </a:fld>
            <a:endParaRPr lang="es-D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D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EE9B2E-96D4-7644-A6FC-AE6A8C7D43B2}" type="slidenum">
              <a:rPr lang="es-DO" smtClean="0"/>
              <a:t>‹Nº›</a:t>
            </a:fld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20738475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663" y="483032"/>
            <a:ext cx="5868472" cy="175360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664" y="2224039"/>
            <a:ext cx="2878421" cy="1089967"/>
          </a:xfrm>
        </p:spPr>
        <p:txBody>
          <a:bodyPr anchor="b"/>
          <a:lstStyle>
            <a:lvl1pPr marL="0" indent="0">
              <a:buNone/>
              <a:defRPr sz="1786" b="1"/>
            </a:lvl1pPr>
            <a:lvl2pPr marL="340203" indent="0">
              <a:buNone/>
              <a:defRPr sz="1488" b="1"/>
            </a:lvl2pPr>
            <a:lvl3pPr marL="680405" indent="0">
              <a:buNone/>
              <a:defRPr sz="1339" b="1"/>
            </a:lvl3pPr>
            <a:lvl4pPr marL="1020608" indent="0">
              <a:buNone/>
              <a:defRPr sz="1191" b="1"/>
            </a:lvl4pPr>
            <a:lvl5pPr marL="1360810" indent="0">
              <a:buNone/>
              <a:defRPr sz="1191" b="1"/>
            </a:lvl5pPr>
            <a:lvl6pPr marL="1701013" indent="0">
              <a:buNone/>
              <a:defRPr sz="1191" b="1"/>
            </a:lvl6pPr>
            <a:lvl7pPr marL="2041215" indent="0">
              <a:buNone/>
              <a:defRPr sz="1191" b="1"/>
            </a:lvl7pPr>
            <a:lvl8pPr marL="2381418" indent="0">
              <a:buNone/>
              <a:defRPr sz="1191" b="1"/>
            </a:lvl8pPr>
            <a:lvl9pPr marL="2721620" indent="0">
              <a:buNone/>
              <a:defRPr sz="1191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64" y="3314006"/>
            <a:ext cx="2878421" cy="4874403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44538" y="2224039"/>
            <a:ext cx="2892597" cy="1089967"/>
          </a:xfrm>
        </p:spPr>
        <p:txBody>
          <a:bodyPr anchor="b"/>
          <a:lstStyle>
            <a:lvl1pPr marL="0" indent="0">
              <a:buNone/>
              <a:defRPr sz="1786" b="1"/>
            </a:lvl1pPr>
            <a:lvl2pPr marL="340203" indent="0">
              <a:buNone/>
              <a:defRPr sz="1488" b="1"/>
            </a:lvl2pPr>
            <a:lvl3pPr marL="680405" indent="0">
              <a:buNone/>
              <a:defRPr sz="1339" b="1"/>
            </a:lvl3pPr>
            <a:lvl4pPr marL="1020608" indent="0">
              <a:buNone/>
              <a:defRPr sz="1191" b="1"/>
            </a:lvl4pPr>
            <a:lvl5pPr marL="1360810" indent="0">
              <a:buNone/>
              <a:defRPr sz="1191" b="1"/>
            </a:lvl5pPr>
            <a:lvl6pPr marL="1701013" indent="0">
              <a:buNone/>
              <a:defRPr sz="1191" b="1"/>
            </a:lvl6pPr>
            <a:lvl7pPr marL="2041215" indent="0">
              <a:buNone/>
              <a:defRPr sz="1191" b="1"/>
            </a:lvl7pPr>
            <a:lvl8pPr marL="2381418" indent="0">
              <a:buNone/>
              <a:defRPr sz="1191" b="1"/>
            </a:lvl8pPr>
            <a:lvl9pPr marL="2721620" indent="0">
              <a:buNone/>
              <a:defRPr sz="1191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44538" y="3314006"/>
            <a:ext cx="2892597" cy="4874403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CCD3D-5671-0C44-A064-1D2D37A27C93}" type="datetimeFigureOut">
              <a:rPr lang="es-DO" smtClean="0"/>
              <a:t>25/3/24</a:t>
            </a:fld>
            <a:endParaRPr lang="es-DO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DO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EE9B2E-96D4-7644-A6FC-AE6A8C7D43B2}" type="slidenum">
              <a:rPr lang="es-DO" smtClean="0"/>
              <a:t>‹Nº›</a:t>
            </a:fld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2624671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CCD3D-5671-0C44-A064-1D2D37A27C93}" type="datetimeFigureOut">
              <a:rPr lang="es-DO" smtClean="0"/>
              <a:t>25/3/24</a:t>
            </a:fld>
            <a:endParaRPr lang="es-D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D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EE9B2E-96D4-7644-A6FC-AE6A8C7D43B2}" type="slidenum">
              <a:rPr lang="es-DO" smtClean="0"/>
              <a:t>‹Nº›</a:t>
            </a:fld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2868545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CCD3D-5671-0C44-A064-1D2D37A27C93}" type="datetimeFigureOut">
              <a:rPr lang="es-DO" smtClean="0"/>
              <a:t>25/3/24</a:t>
            </a:fld>
            <a:endParaRPr lang="es-D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D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EE9B2E-96D4-7644-A6FC-AE6A8C7D43B2}" type="slidenum">
              <a:rPr lang="es-DO" smtClean="0"/>
              <a:t>‹Nº›</a:t>
            </a:fld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0941417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663" y="604838"/>
            <a:ext cx="2194475" cy="2116931"/>
          </a:xfrm>
        </p:spPr>
        <p:txBody>
          <a:bodyPr anchor="b"/>
          <a:lstStyle>
            <a:lvl1pPr>
              <a:defRPr sz="2381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92597" y="1306283"/>
            <a:ext cx="3444538" cy="6447400"/>
          </a:xfrm>
        </p:spPr>
        <p:txBody>
          <a:bodyPr/>
          <a:lstStyle>
            <a:lvl1pPr>
              <a:defRPr sz="2381"/>
            </a:lvl1pPr>
            <a:lvl2pPr>
              <a:defRPr sz="2083"/>
            </a:lvl2pPr>
            <a:lvl3pPr>
              <a:defRPr sz="1786"/>
            </a:lvl3pPr>
            <a:lvl4pPr>
              <a:defRPr sz="1488"/>
            </a:lvl4pPr>
            <a:lvl5pPr>
              <a:defRPr sz="1488"/>
            </a:lvl5pPr>
            <a:lvl6pPr>
              <a:defRPr sz="1488"/>
            </a:lvl6pPr>
            <a:lvl7pPr>
              <a:defRPr sz="1488"/>
            </a:lvl7pPr>
            <a:lvl8pPr>
              <a:defRPr sz="1488"/>
            </a:lvl8pPr>
            <a:lvl9pPr>
              <a:defRPr sz="1488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8663" y="2721769"/>
            <a:ext cx="2194475" cy="5042414"/>
          </a:xfrm>
        </p:spPr>
        <p:txBody>
          <a:bodyPr/>
          <a:lstStyle>
            <a:lvl1pPr marL="0" indent="0">
              <a:buNone/>
              <a:defRPr sz="1191"/>
            </a:lvl1pPr>
            <a:lvl2pPr marL="340203" indent="0">
              <a:buNone/>
              <a:defRPr sz="1042"/>
            </a:lvl2pPr>
            <a:lvl3pPr marL="680405" indent="0">
              <a:buNone/>
              <a:defRPr sz="893"/>
            </a:lvl3pPr>
            <a:lvl4pPr marL="1020608" indent="0">
              <a:buNone/>
              <a:defRPr sz="744"/>
            </a:lvl4pPr>
            <a:lvl5pPr marL="1360810" indent="0">
              <a:buNone/>
              <a:defRPr sz="744"/>
            </a:lvl5pPr>
            <a:lvl6pPr marL="1701013" indent="0">
              <a:buNone/>
              <a:defRPr sz="744"/>
            </a:lvl6pPr>
            <a:lvl7pPr marL="2041215" indent="0">
              <a:buNone/>
              <a:defRPr sz="744"/>
            </a:lvl7pPr>
            <a:lvl8pPr marL="2381418" indent="0">
              <a:buNone/>
              <a:defRPr sz="744"/>
            </a:lvl8pPr>
            <a:lvl9pPr marL="2721620" indent="0">
              <a:buNone/>
              <a:defRPr sz="744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CCD3D-5671-0C44-A064-1D2D37A27C93}" type="datetimeFigureOut">
              <a:rPr lang="es-DO" smtClean="0"/>
              <a:t>25/3/24</a:t>
            </a:fld>
            <a:endParaRPr lang="es-D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D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EE9B2E-96D4-7644-A6FC-AE6A8C7D43B2}" type="slidenum">
              <a:rPr lang="es-DO" smtClean="0"/>
              <a:t>‹Nº›</a:t>
            </a:fld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33957669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663" y="604838"/>
            <a:ext cx="2194475" cy="2116931"/>
          </a:xfrm>
        </p:spPr>
        <p:txBody>
          <a:bodyPr anchor="b"/>
          <a:lstStyle>
            <a:lvl1pPr>
              <a:defRPr sz="2381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892597" y="1306283"/>
            <a:ext cx="3444538" cy="6447400"/>
          </a:xfrm>
        </p:spPr>
        <p:txBody>
          <a:bodyPr anchor="t"/>
          <a:lstStyle>
            <a:lvl1pPr marL="0" indent="0">
              <a:buNone/>
              <a:defRPr sz="2381"/>
            </a:lvl1pPr>
            <a:lvl2pPr marL="340203" indent="0">
              <a:buNone/>
              <a:defRPr sz="2083"/>
            </a:lvl2pPr>
            <a:lvl3pPr marL="680405" indent="0">
              <a:buNone/>
              <a:defRPr sz="1786"/>
            </a:lvl3pPr>
            <a:lvl4pPr marL="1020608" indent="0">
              <a:buNone/>
              <a:defRPr sz="1488"/>
            </a:lvl4pPr>
            <a:lvl5pPr marL="1360810" indent="0">
              <a:buNone/>
              <a:defRPr sz="1488"/>
            </a:lvl5pPr>
            <a:lvl6pPr marL="1701013" indent="0">
              <a:buNone/>
              <a:defRPr sz="1488"/>
            </a:lvl6pPr>
            <a:lvl7pPr marL="2041215" indent="0">
              <a:buNone/>
              <a:defRPr sz="1488"/>
            </a:lvl7pPr>
            <a:lvl8pPr marL="2381418" indent="0">
              <a:buNone/>
              <a:defRPr sz="1488"/>
            </a:lvl8pPr>
            <a:lvl9pPr marL="2721620" indent="0">
              <a:buNone/>
              <a:defRPr sz="1488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8663" y="2721769"/>
            <a:ext cx="2194475" cy="5042414"/>
          </a:xfrm>
        </p:spPr>
        <p:txBody>
          <a:bodyPr/>
          <a:lstStyle>
            <a:lvl1pPr marL="0" indent="0">
              <a:buNone/>
              <a:defRPr sz="1191"/>
            </a:lvl1pPr>
            <a:lvl2pPr marL="340203" indent="0">
              <a:buNone/>
              <a:defRPr sz="1042"/>
            </a:lvl2pPr>
            <a:lvl3pPr marL="680405" indent="0">
              <a:buNone/>
              <a:defRPr sz="893"/>
            </a:lvl3pPr>
            <a:lvl4pPr marL="1020608" indent="0">
              <a:buNone/>
              <a:defRPr sz="744"/>
            </a:lvl4pPr>
            <a:lvl5pPr marL="1360810" indent="0">
              <a:buNone/>
              <a:defRPr sz="744"/>
            </a:lvl5pPr>
            <a:lvl6pPr marL="1701013" indent="0">
              <a:buNone/>
              <a:defRPr sz="744"/>
            </a:lvl6pPr>
            <a:lvl7pPr marL="2041215" indent="0">
              <a:buNone/>
              <a:defRPr sz="744"/>
            </a:lvl7pPr>
            <a:lvl8pPr marL="2381418" indent="0">
              <a:buNone/>
              <a:defRPr sz="744"/>
            </a:lvl8pPr>
            <a:lvl9pPr marL="2721620" indent="0">
              <a:buNone/>
              <a:defRPr sz="744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CCD3D-5671-0C44-A064-1D2D37A27C93}" type="datetimeFigureOut">
              <a:rPr lang="es-DO" smtClean="0"/>
              <a:t>25/3/24</a:t>
            </a:fld>
            <a:endParaRPr lang="es-D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D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EE9B2E-96D4-7644-A6FC-AE6A8C7D43B2}" type="slidenum">
              <a:rPr lang="es-DO" smtClean="0"/>
              <a:t>‹Nº›</a:t>
            </a:fld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31309996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7777" y="483032"/>
            <a:ext cx="5868472" cy="17536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777" y="2415150"/>
            <a:ext cx="5868472" cy="57564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7777" y="8408924"/>
            <a:ext cx="1530906" cy="4830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3CCD3D-5671-0C44-A064-1D2D37A27C93}" type="datetimeFigureOut">
              <a:rPr lang="es-DO" smtClean="0"/>
              <a:t>25/3/24</a:t>
            </a:fld>
            <a:endParaRPr lang="es-D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53834" y="8408924"/>
            <a:ext cx="2296358" cy="4830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D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5342" y="8408924"/>
            <a:ext cx="1530906" cy="4830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EE9B2E-96D4-7644-A6FC-AE6A8C7D43B2}" type="slidenum">
              <a:rPr lang="es-DO" smtClean="0"/>
              <a:t>‹Nº›</a:t>
            </a:fld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3264221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0405" rtl="0" eaLnBrk="1" latinLnBrk="0" hangingPunct="1">
        <a:lnSpc>
          <a:spcPct val="90000"/>
        </a:lnSpc>
        <a:spcBef>
          <a:spcPct val="0"/>
        </a:spcBef>
        <a:buNone/>
        <a:defRPr sz="327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0101" indent="-170101" algn="l" defTabSz="680405" rtl="0" eaLnBrk="1" latinLnBrk="0" hangingPunct="1">
        <a:lnSpc>
          <a:spcPct val="90000"/>
        </a:lnSpc>
        <a:spcBef>
          <a:spcPts val="744"/>
        </a:spcBef>
        <a:buFont typeface="Arial" panose="020B0604020202020204" pitchFamily="34" charset="0"/>
        <a:buChar char="•"/>
        <a:defRPr sz="2083" kern="1200">
          <a:solidFill>
            <a:schemeClr val="tx1"/>
          </a:solidFill>
          <a:latin typeface="+mn-lt"/>
          <a:ea typeface="+mn-ea"/>
          <a:cs typeface="+mn-cs"/>
        </a:defRPr>
      </a:lvl1pPr>
      <a:lvl2pPr marL="510304" indent="-170101" algn="l" defTabSz="680405" rtl="0" eaLnBrk="1" latinLnBrk="0" hangingPunct="1">
        <a:lnSpc>
          <a:spcPct val="90000"/>
        </a:lnSpc>
        <a:spcBef>
          <a:spcPts val="372"/>
        </a:spcBef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850506" indent="-170101" algn="l" defTabSz="680405" rtl="0" eaLnBrk="1" latinLnBrk="0" hangingPunct="1">
        <a:lnSpc>
          <a:spcPct val="90000"/>
        </a:lnSpc>
        <a:spcBef>
          <a:spcPts val="372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90709" indent="-170101" algn="l" defTabSz="680405" rtl="0" eaLnBrk="1" latinLnBrk="0" hangingPunct="1">
        <a:lnSpc>
          <a:spcPct val="90000"/>
        </a:lnSpc>
        <a:spcBef>
          <a:spcPts val="372"/>
        </a:spcBef>
        <a:buFont typeface="Arial" panose="020B0604020202020204" pitchFamily="34" charset="0"/>
        <a:buChar char="•"/>
        <a:defRPr sz="1339" kern="1200">
          <a:solidFill>
            <a:schemeClr val="tx1"/>
          </a:solidFill>
          <a:latin typeface="+mn-lt"/>
          <a:ea typeface="+mn-ea"/>
          <a:cs typeface="+mn-cs"/>
        </a:defRPr>
      </a:lvl4pPr>
      <a:lvl5pPr marL="1530911" indent="-170101" algn="l" defTabSz="680405" rtl="0" eaLnBrk="1" latinLnBrk="0" hangingPunct="1">
        <a:lnSpc>
          <a:spcPct val="90000"/>
        </a:lnSpc>
        <a:spcBef>
          <a:spcPts val="372"/>
        </a:spcBef>
        <a:buFont typeface="Arial" panose="020B0604020202020204" pitchFamily="34" charset="0"/>
        <a:buChar char="•"/>
        <a:defRPr sz="1339" kern="1200">
          <a:solidFill>
            <a:schemeClr val="tx1"/>
          </a:solidFill>
          <a:latin typeface="+mn-lt"/>
          <a:ea typeface="+mn-ea"/>
          <a:cs typeface="+mn-cs"/>
        </a:defRPr>
      </a:lvl5pPr>
      <a:lvl6pPr marL="1871114" indent="-170101" algn="l" defTabSz="680405" rtl="0" eaLnBrk="1" latinLnBrk="0" hangingPunct="1">
        <a:lnSpc>
          <a:spcPct val="90000"/>
        </a:lnSpc>
        <a:spcBef>
          <a:spcPts val="372"/>
        </a:spcBef>
        <a:buFont typeface="Arial" panose="020B0604020202020204" pitchFamily="34" charset="0"/>
        <a:buChar char="•"/>
        <a:defRPr sz="1339" kern="1200">
          <a:solidFill>
            <a:schemeClr val="tx1"/>
          </a:solidFill>
          <a:latin typeface="+mn-lt"/>
          <a:ea typeface="+mn-ea"/>
          <a:cs typeface="+mn-cs"/>
        </a:defRPr>
      </a:lvl6pPr>
      <a:lvl7pPr marL="2211316" indent="-170101" algn="l" defTabSz="680405" rtl="0" eaLnBrk="1" latinLnBrk="0" hangingPunct="1">
        <a:lnSpc>
          <a:spcPct val="90000"/>
        </a:lnSpc>
        <a:spcBef>
          <a:spcPts val="372"/>
        </a:spcBef>
        <a:buFont typeface="Arial" panose="020B0604020202020204" pitchFamily="34" charset="0"/>
        <a:buChar char="•"/>
        <a:defRPr sz="1339" kern="1200">
          <a:solidFill>
            <a:schemeClr val="tx1"/>
          </a:solidFill>
          <a:latin typeface="+mn-lt"/>
          <a:ea typeface="+mn-ea"/>
          <a:cs typeface="+mn-cs"/>
        </a:defRPr>
      </a:lvl7pPr>
      <a:lvl8pPr marL="2551519" indent="-170101" algn="l" defTabSz="680405" rtl="0" eaLnBrk="1" latinLnBrk="0" hangingPunct="1">
        <a:lnSpc>
          <a:spcPct val="90000"/>
        </a:lnSpc>
        <a:spcBef>
          <a:spcPts val="372"/>
        </a:spcBef>
        <a:buFont typeface="Arial" panose="020B0604020202020204" pitchFamily="34" charset="0"/>
        <a:buChar char="•"/>
        <a:defRPr sz="1339" kern="1200">
          <a:solidFill>
            <a:schemeClr val="tx1"/>
          </a:solidFill>
          <a:latin typeface="+mn-lt"/>
          <a:ea typeface="+mn-ea"/>
          <a:cs typeface="+mn-cs"/>
        </a:defRPr>
      </a:lvl8pPr>
      <a:lvl9pPr marL="2891721" indent="-170101" algn="l" defTabSz="680405" rtl="0" eaLnBrk="1" latinLnBrk="0" hangingPunct="1">
        <a:lnSpc>
          <a:spcPct val="90000"/>
        </a:lnSpc>
        <a:spcBef>
          <a:spcPts val="372"/>
        </a:spcBef>
        <a:buFont typeface="Arial" panose="020B0604020202020204" pitchFamily="34" charset="0"/>
        <a:buChar char="•"/>
        <a:defRPr sz="133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0405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1pPr>
      <a:lvl2pPr marL="340203" algn="l" defTabSz="680405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2pPr>
      <a:lvl3pPr marL="680405" algn="l" defTabSz="680405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3pPr>
      <a:lvl4pPr marL="1020608" algn="l" defTabSz="680405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4pPr>
      <a:lvl5pPr marL="1360810" algn="l" defTabSz="680405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5pPr>
      <a:lvl6pPr marL="1701013" algn="l" defTabSz="680405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6pPr>
      <a:lvl7pPr marL="2041215" algn="l" defTabSz="680405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7pPr>
      <a:lvl8pPr marL="2381418" algn="l" defTabSz="680405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8pPr>
      <a:lvl9pPr marL="2721620" algn="l" defTabSz="680405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E5E0F699-2AE5-E397-2ED4-D28A7E51AFA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549400" y="0"/>
            <a:ext cx="381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DO" sz="2400" dirty="0">
                <a:solidFill>
                  <a:schemeClr val="bg1"/>
                </a:solidFill>
              </a:rPr>
              <a:t>Título de la Comunicación 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7CF90F0-55B4-18A3-F212-155F142D410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55900" y="330860"/>
            <a:ext cx="404812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DO" sz="1100" dirty="0">
                <a:solidFill>
                  <a:schemeClr val="bg1"/>
                </a:solidFill>
              </a:rPr>
              <a:t>Autor1, institución, correo, ORCID</a:t>
            </a:r>
          </a:p>
          <a:p>
            <a:pPr algn="r"/>
            <a:r>
              <a:rPr lang="es-DO" sz="1100" dirty="0">
                <a:solidFill>
                  <a:schemeClr val="bg1"/>
                </a:solidFill>
              </a:rPr>
              <a:t>Autor2, institución, correo, ORCID</a:t>
            </a:r>
          </a:p>
          <a:p>
            <a:pPr algn="r"/>
            <a:r>
              <a:rPr lang="es-DO" sz="1100" dirty="0">
                <a:solidFill>
                  <a:schemeClr val="bg1"/>
                </a:solidFill>
              </a:rPr>
              <a:t>Autor3, institución, correo, ORCID</a:t>
            </a:r>
          </a:p>
          <a:p>
            <a:pPr algn="r"/>
            <a:r>
              <a:rPr lang="es-DO" sz="1100" dirty="0">
                <a:solidFill>
                  <a:schemeClr val="bg1"/>
                </a:solidFill>
              </a:rPr>
              <a:t>…..</a:t>
            </a:r>
          </a:p>
        </p:txBody>
      </p:sp>
    </p:spTree>
    <p:extLst>
      <p:ext uri="{BB962C8B-B14F-4D97-AF65-F5344CB8AC3E}">
        <p14:creationId xmlns:p14="http://schemas.microsoft.com/office/powerpoint/2010/main" val="9578997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8</TotalTime>
  <Words>26</Words>
  <Application>Microsoft Macintosh PowerPoint</Application>
  <PresentationFormat>Personalizado</PresentationFormat>
  <Paragraphs>5</Paragraphs>
  <Slides>1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Tema de Office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Sarah Mayi</dc:creator>
  <cp:lastModifiedBy>Sarah Mayi</cp:lastModifiedBy>
  <cp:revision>4</cp:revision>
  <dcterms:created xsi:type="dcterms:W3CDTF">2023-03-21T13:12:07Z</dcterms:created>
  <dcterms:modified xsi:type="dcterms:W3CDTF">2024-03-25T18:28:55Z</dcterms:modified>
</cp:coreProperties>
</file>